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13"/>
  </p:notesMasterIdLst>
  <p:handoutMasterIdLst>
    <p:handoutMasterId r:id="rId14"/>
  </p:handoutMasterIdLst>
  <p:sldIdLst>
    <p:sldId id="311" r:id="rId2"/>
    <p:sldId id="363" r:id="rId3"/>
    <p:sldId id="340" r:id="rId4"/>
    <p:sldId id="366" r:id="rId5"/>
    <p:sldId id="348" r:id="rId6"/>
    <p:sldId id="359" r:id="rId7"/>
    <p:sldId id="362" r:id="rId8"/>
    <p:sldId id="367" r:id="rId9"/>
    <p:sldId id="364" r:id="rId10"/>
    <p:sldId id="351" r:id="rId11"/>
    <p:sldId id="356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3571" autoAdjust="0"/>
  </p:normalViewPr>
  <p:slideViewPr>
    <p:cSldViewPr>
      <p:cViewPr>
        <p:scale>
          <a:sx n="90" d="100"/>
          <a:sy n="90" d="100"/>
        </p:scale>
        <p:origin x="-1230" y="-426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7/1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IDE</a:t>
            </a:r>
            <a:r>
              <a:rPr lang="pl-PL" baseline="0" dirty="0" smtClean="0"/>
              <a:t> dostarczane przez twórców </a:t>
            </a:r>
            <a:r>
              <a:rPr lang="pl-PL" baseline="0" dirty="0" err="1" smtClean="0"/>
              <a:t>arduino</a:t>
            </a:r>
            <a:endParaRPr lang="pl-PL" baseline="0" dirty="0" smtClean="0"/>
          </a:p>
          <a:p>
            <a:r>
              <a:rPr lang="pl-PL" baseline="0" dirty="0" smtClean="0"/>
              <a:t>Wygodne na początek.</a:t>
            </a:r>
          </a:p>
          <a:p>
            <a:r>
              <a:rPr lang="pl-PL" baseline="0" dirty="0" smtClean="0"/>
              <a:t>Łatwo dokłada się nowe biblioteki i przykłady z netu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Funkcja </a:t>
            </a:r>
            <a:r>
              <a:rPr lang="pl-PL" dirty="0" err="1" smtClean="0"/>
              <a:t>main</a:t>
            </a:r>
            <a:r>
              <a:rPr lang="pl-PL" dirty="0" smtClean="0"/>
              <a:t> </a:t>
            </a:r>
            <a:r>
              <a:rPr lang="pl-PL" dirty="0" err="1" smtClean="0"/>
              <a:t>Arduino</a:t>
            </a:r>
            <a:r>
              <a:rPr lang="pl-PL" dirty="0" smtClean="0"/>
              <a:t> wygląda następująco: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int</a:t>
            </a:r>
            <a:r>
              <a:rPr lang="en-US" dirty="0" smtClean="0"/>
              <a:t> main(void)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init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</a:t>
            </a:r>
            <a:r>
              <a:rPr lang="en-US" dirty="0" err="1" smtClean="0"/>
              <a:t>initVariant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setu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for (;;) {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loop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	if (</a:t>
            </a:r>
            <a:r>
              <a:rPr lang="en-US" dirty="0" err="1" smtClean="0"/>
              <a:t>serialEventRun</a:t>
            </a:r>
            <a:r>
              <a:rPr lang="en-US" dirty="0" smtClean="0"/>
              <a:t>) </a:t>
            </a:r>
            <a:r>
              <a:rPr lang="en-US" dirty="0" err="1" smtClean="0"/>
              <a:t>serialEventRun</a:t>
            </a:r>
            <a:r>
              <a:rPr lang="en-US" dirty="0" smtClean="0"/>
              <a:t>()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}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       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	return 0;</a:t>
            </a:r>
          </a:p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}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3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rduino_ide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rduino_ide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err="1" smtClean="0"/>
              <a:t>Arduino</a:t>
            </a:r>
            <a:r>
              <a:rPr lang="pl-PL" sz="6000" b="1" dirty="0" smtClean="0"/>
              <a:t> Software (IDE) </a:t>
            </a:r>
            <a:endParaRPr lang="en-US" sz="60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77507" name="Picture 3" descr="C:\git\RoboCap\arduino\wks\A_03_01_digital_output\digital_output_bb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36470" y="1412720"/>
            <a:ext cx="7540355" cy="4680000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5889130" y="4005080"/>
            <a:ext cx="460382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13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65460" y="4005080"/>
            <a:ext cx="598241" cy="3485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>
                <a:latin typeface="Courier New" pitchFamily="49" charset="0"/>
                <a:cs typeface="Courier New" pitchFamily="49" charset="0"/>
              </a:rPr>
              <a:t>GND</a:t>
            </a:r>
            <a:endParaRPr lang="en-US" sz="1800" b="1" dirty="0" smtClean="0">
              <a:latin typeface="Courier New" pitchFamily="49" charset="0"/>
              <a:cs typeface="Courier New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cyfrowe wyjśc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OUTPUT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endParaRPr lang="pl-PL" sz="1800" b="1" dirty="0" smtClean="0">
              <a:solidFill>
                <a:srgbClr val="888888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b="1" dirty="0" smtClean="0">
                <a:solidFill>
                  <a:srgbClr val="888888"/>
                </a:solidFill>
                <a:latin typeface="Courier New" pitchFamily="49" charset="0"/>
                <a:cs typeface="Courier New" pitchFamily="49" charset="0"/>
              </a:rPr>
              <a:t>void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) {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HIGH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</a:t>
            </a:r>
            <a:r>
              <a:rPr lang="en-US" sz="1800" dirty="0" err="1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3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, LOW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  delay(</a:t>
            </a:r>
            <a:r>
              <a:rPr lang="en-US" sz="1800" b="1" dirty="0" smtClean="0">
                <a:solidFill>
                  <a:srgbClr val="0000DD"/>
                </a:solidFill>
                <a:latin typeface="Courier New" pitchFamily="49" charset="0"/>
                <a:cs typeface="Courier New" pitchFamily="49" charset="0"/>
              </a:rPr>
              <a:t>1000</a:t>
            </a: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);</a:t>
            </a:r>
            <a:endParaRPr lang="pl-PL" sz="1800" dirty="0" smtClean="0">
              <a:solidFill>
                <a:srgbClr val="000000"/>
              </a:solidFill>
              <a:latin typeface="Courier New" pitchFamily="49" charset="0"/>
              <a:cs typeface="Courier New" pitchFamily="49" charset="0"/>
            </a:endParaRPr>
          </a:p>
          <a:p>
            <a:pPr lvl="0">
              <a:lnSpc>
                <a:spcPct val="100000"/>
              </a:lnSpc>
              <a:spcAft>
                <a:spcPts val="0"/>
              </a:spcAft>
              <a:buClr>
                <a:srgbClr val="998C85"/>
              </a:buClr>
            </a:pPr>
            <a:r>
              <a:rPr lang="en-US" sz="1800" dirty="0" smtClean="0">
                <a:solidFill>
                  <a:srgbClr val="000000"/>
                </a:solidFill>
                <a:latin typeface="Courier New" pitchFamily="49" charset="0"/>
                <a:cs typeface="Courier New" pitchFamily="49" charset="0"/>
              </a:rPr>
              <a:t>}</a:t>
            </a:r>
            <a:endParaRPr lang="pl-PL" sz="1800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0050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pin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mod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OUTPUT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err="1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INPUT_PULLUP</a:t>
            </a: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nfiguracja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igitalWrit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pin,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</a:t>
            </a:r>
            <a:b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alue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: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HIGH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, </a:t>
            </a:r>
            <a:r>
              <a:rPr lang="pl-PL" sz="2000" b="1" dirty="0" smtClean="0">
                <a:solidFill>
                  <a:srgbClr val="00B050"/>
                </a:solidFill>
                <a:latin typeface="Courier New" pitchFamily="49" charset="0"/>
                <a:cs typeface="Courier New" pitchFamily="49" charset="0"/>
              </a:rPr>
              <a:t>LOW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tawianie wartości cyfrowego wtyku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delay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(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ms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) 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/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trzymanie programu na czas określony w parametrze (milisekundy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</a:pP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Nano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203" name="Picture 3" descr="C:\Users\jczas\Downloads\nanopdf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1139460"/>
            <a:ext cx="7308793" cy="516993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cc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jako wersj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tandalon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 składn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nie ma uzupełniania nazw zmiennych i funkcji i nie daje ławo dostępu do nagłówków klas i funkcj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4" descr="http://www.mobibrw.com/wp-content/uploads/2013/06/arduino_ide_ubuntu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69030" y="1196690"/>
            <a:ext cx="4248150" cy="50577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653170"/>
            <a:ext cx="928929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est dostępne na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.baeyens.it</a:t>
            </a: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zawiera kompilator, programator,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ibliotekę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poro bibliotek dla popularnych podzespołów i przykład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de-DE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clipse</a:t>
            </a:r>
            <a:r>
              <a:rPr lang="de-DE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D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ma kolorowanie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zupełniani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kładn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2973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64460" y="1183544"/>
            <a:ext cx="7561050" cy="3469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214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struktura „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main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”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3672510" cy="48966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gram dla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mportuje bibliotekę 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.h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gt;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i składa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ię z dwóch funkcji: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setu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ruchamiana jest raz 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 starcie lub reseci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duino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Funkcja </a:t>
            </a:r>
            <a:r>
              <a:rPr lang="pl-PL" sz="2000" b="1" dirty="0" err="1" smtClean="0">
                <a:solidFill>
                  <a:srgbClr val="0070C0"/>
                </a:solidFill>
                <a:latin typeface="Courier New" pitchFamily="49" charset="0"/>
                <a:cs typeface="Courier New" pitchFamily="49" charset="0"/>
              </a:rPr>
              <a:t>loop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()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uruchamiana jest w nieskończonej pętli.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Content Placeholder 7"/>
          <p:cNvSpPr>
            <a:spLocks noGrp="1"/>
          </p:cNvSpPr>
          <p:nvPr>
            <p:ph idx="4294967295"/>
          </p:nvPr>
        </p:nvSpPr>
        <p:spPr>
          <a:xfrm>
            <a:off x="4016870" y="1196690"/>
            <a:ext cx="5760800" cy="5040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#include &lt;</a:t>
            </a:r>
            <a:r>
              <a:rPr lang="en-US" sz="1800" b="1" dirty="0" err="1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Arduino.h</a:t>
            </a:r>
            <a:r>
              <a:rPr lang="en-US" sz="1800" b="1" dirty="0" smtClean="0">
                <a:solidFill>
                  <a:srgbClr val="CC0000"/>
                </a:solidFill>
                <a:latin typeface="Courier New"/>
                <a:ea typeface="Times New Roman"/>
                <a:cs typeface="Times New Roman"/>
              </a:rPr>
              <a:t>&gt;</a:t>
            </a:r>
            <a:endParaRPr lang="pl-PL" sz="1800" b="1" dirty="0" smtClean="0">
              <a:solidFill>
                <a:srgbClr val="CC0000"/>
              </a:solidFill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pl-PL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setu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 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b="1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void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</a:t>
            </a:r>
            <a:r>
              <a:rPr lang="en-US" sz="1800" b="1" dirty="0" smtClean="0">
                <a:solidFill>
                  <a:srgbClr val="0066BB"/>
                </a:solidFill>
                <a:latin typeface="Courier New"/>
                <a:ea typeface="Times New Roman"/>
                <a:cs typeface="Times New Roman"/>
              </a:rPr>
              <a:t>loop</a:t>
            </a: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() {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  </a:t>
            </a:r>
            <a:r>
              <a:rPr lang="en-US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// </a:t>
            </a:r>
            <a:r>
              <a:rPr lang="pl-PL" sz="1800" dirty="0" smtClean="0">
                <a:solidFill>
                  <a:srgbClr val="888888"/>
                </a:solidFill>
                <a:latin typeface="Courier New"/>
                <a:ea typeface="Times New Roman"/>
                <a:cs typeface="Times New Roman"/>
              </a:rPr>
              <a:t>...</a:t>
            </a:r>
            <a:endParaRPr lang="pl-PL" sz="1800" dirty="0" smtClean="0">
              <a:latin typeface="Courier New"/>
              <a:ea typeface="Times New Roman"/>
              <a:cs typeface="Times New Roman"/>
            </a:endParaRPr>
          </a:p>
          <a:p>
            <a:pPr>
              <a:lnSpc>
                <a:spcPct val="100000"/>
              </a:lnSpc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US" sz="1800" dirty="0" smtClean="0">
                <a:latin typeface="Courier New"/>
                <a:ea typeface="Times New Roman"/>
                <a:cs typeface="Times New Roman"/>
              </a:rPr>
              <a:t>}</a:t>
            </a:r>
            <a:endParaRPr lang="en-US" sz="1800" dirty="0" smtClean="0">
              <a:latin typeface="Calibri"/>
              <a:ea typeface="Calibri"/>
              <a:cs typeface="Times New Roman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pl-PL" sz="18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instalacja driver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4797190"/>
            <a:ext cx="921728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Nieznane urządzenie</a:t>
            </a:r>
            <a:br>
              <a:rPr lang="pl-PL" sz="2000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Aktualizuj oprogramowanie sterownika...</a:t>
            </a:r>
            <a:b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</a:b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 Przeglądaj mój komputer w poszukiwaniu oprogramowania sterownika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48" name="AutoShape 8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0" name="AutoShape 10" descr="https://mail.google.com/mail/u/0/?ui=2&amp;ik=03db6030c3&amp;view=fimg&amp;th=14da992dece96eef&amp;attid=0.1.1&amp;disp=emb&amp;attbid=ANGjdJ93xquGt9Ys9P-FzPf5a673UNdYk-5HXi419EbwRgSFpupNTu5LJldsJwwPXbkgxZspoJf42N4M1QpWhMa9F41-3tt4MRzcOXsOFf-QUXDyUQwLsDlbt6NVASc&amp;sz=s0-l75-ft&amp;ats=1433788970182&amp;rm=14da992dece96eef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52" name="Picture 12" descr="https://gm1.ggpht.com/FdhXnAUyhSqxGcRO8dqjv96EzDpM-bvcoQbqGdj_BOCB0TEezVY9RHEtA4jYnDpgm0-s5z6RSyPUtstLb26-owsjdwUD7ON9tKwJQet8LVZNMFHxs5ESHHyBCsxguzWglvlQU-YjIb0FJ65zo-wVWgMruuPv6oldV9almeruakUPspQNBmHUVnuAp7QqMRxrPBr5VMHjKgj0PywY1IYHaPvDahHw2WP5_3zTxMjsMiWMk4FaloL_9fSgcXVkWVGRy64QQXcDCQBJMEwNBSGFwNCpj8YM7saOSTPT4jkCo8CpAb-RdSTAYRQ8-UNhydMtmOOy7zGXDAtjXoAMMiYr4ekwKo4HjHXVn4-7a8MpP1xRRG37SywC3EarCToZv4qOfA6_iOLCrCj0zXG0ggasVvkbB80SaImd_fiVyQcYkB1Tglstc1qJ1sIFbI4XOWMVi59ENXFEBkGIaLjOZzlbYRggo6-ajcFrvo7ODXbLhIHGaLiNb3Qcx6RlFqmI0ap4tSigMKngjR4R-prD8JQyz0TxldDsi6Bp4BjF1M5lXGe4TotauETssluY3cfLiNsZBG9Hcnw4sGPANxQ7J5xQxAO3fFHkMgEDFCXdqQ=s0-l75-ft-l75-ft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360" y="1628750"/>
            <a:ext cx="3571875" cy="2857500"/>
          </a:xfrm>
          <a:prstGeom prst="rect">
            <a:avLst/>
          </a:prstGeom>
          <a:noFill/>
        </p:spPr>
      </p:pic>
      <p:pic>
        <p:nvPicPr>
          <p:cNvPr id="291854" name="Picture 14" descr="https://gm1.ggpht.com/_ge5EMQSVB1xaPILMVSFBWsL762YyTFn26V8PakFS_vSLNTjEJ0CYKmdiJfAVD7K4O6EpOnS4MJmQBgy0Z4RHa1lWltOqrISAKGU9zWvHcsdx8i7rpjwKb_MCSaC3XxnCgXwFpvYmHe4Q25xmhsq_B4E6Feiv1ZtiR_pTkgWSkC-iqJ6mSCuh249amUiKpMpsVsAmhqIJbQ8AXxXIi7C1v1SjwOA_7B2Z-gn5OU2GvK0mdxeOlNUUAxMLcFqNeXvQdwiYHdm97ftqxVbqtgk0ZDVK6kJ3Xok8ISR8z_H_796oEPjN6iLUcLnRtnQMae0nfOGs_-nkzF2rf3IrJMYuaj1jyGMN4C66omw6-I8DavqHWwKZNNuMLbYycOUahOI5VGsnHVpGUrU0RoA-RT0J_BlPlWTD5Um95--Y5boXNcgDsPAJ1GxuMBLt3mdwk_cKXXdNVacoh2VuxvPwtnmkAKZe7MVWlmhyIV_-oiQ_TTQXCskRNUYCTtWdRCI0WTQU65Z5Sdn7Uk5UEvEFAu4egcvRVoEFomLVGBAezbQ7nRfO3dtqYm4CAIO4ix2hiM3iTEBfrBSwi4mZ9n2eGQ2B2ZmNyQWg_p_1jXPng=s0-l75-ft-l75-ft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160890" y="1628750"/>
            <a:ext cx="2468913" cy="2880400"/>
          </a:xfrm>
          <a:prstGeom prst="rect">
            <a:avLst/>
          </a:prstGeom>
          <a:noFill/>
        </p:spPr>
      </p:pic>
      <p:sp>
        <p:nvSpPr>
          <p:cNvPr id="291856" name="AutoShape 16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858" name="AutoShape 18" descr="Wy&amp;sacute;wietlanie gotow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" name="Picture 20" descr="https://gm1.ggpht.com/y3d0y1PJUZ5ZIvXJAUwLSUBJb3UvkxT0n_7u9qahXamKd2gDcVKcfu8jU0LQy2acj5rCXQHs2vHn9THKoOimSEkYT-hTa7-88bcw1wjjDuf35Gqly3NjX2yTv6H6Abl2pt30bo3z8JkKi59ojZE2JKSViEFlCfwBgqqWWQxVMLLEGjI4-DOiqL2CpZDe6yrMkknwx3PKFb6fP54TKTbdP4njx41jcPKrl9v4vlySA0lOW0U4VlNnIKksjd8DXahoQHLDflvRitecCVOWjFfeGXF11icTC_OicHJfPKsgsgK-Coctpz8kn_IsEf5LZ9_YOA1kpXs1MeC9vPLWh3pg_jksZ3etgm1QbAJz6CgGbFj1IKFtFNoXCBfJ6xXhFuC6BEfW8ZSMJjRM9KI21ETQK6Lj3Y4A1YOngwaGXyTwuviIGNVkgfBIXHXT9ogwWbQbjxhmWbP7_D89HPQteBZatFoLYXL-W2sdjfzWgeyC4c4wJuAr4JcUtmZV7lBUrkShofZjwegPpXhcRiWtuPJPlrePLvxXo_heGKQOpCcp7jNo6TY3OdMBe2fzz5-2bli6eJAczwNfzWK0M8AYrQT8EpQjzrYxgP7NaSyPVA=w1406-h656-l75-ft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16524" y="1628750"/>
            <a:ext cx="2817126" cy="28803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6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340710"/>
            <a:ext cx="4896680" cy="4968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Board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ODO </a:t>
            </a:r>
            <a:r>
              <a:rPr lang="pl-PL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tall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driver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port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Tools&gt;Serial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ort&gt;COM</a:t>
            </a:r>
            <a:r>
              <a:rPr lang="pl-PL" sz="2000" b="1" dirty="0" err="1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  <a:endParaRPr lang="pl-PL" sz="2000" b="1" dirty="0" smtClean="0">
              <a:solidFill>
                <a:srgbClr val="FF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Sketch&gt;Verify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/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pile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File&gt;Upload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216620" y="3573020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580" y="436513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17120" y="4443255"/>
            <a:ext cx="301942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6179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097020" y="1412720"/>
            <a:ext cx="4177978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75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latin typeface="Arial" pitchFamily="34" charset="0"/>
                <a:cs typeface="Arial" pitchFamily="34" charset="0"/>
              </a:rPr>
              <a:t>Eclips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dirty="0" err="1" smtClean="0">
                <a:latin typeface="Arial" pitchFamily="34" charset="0"/>
                <a:cs typeface="Arial" pitchFamily="34" charset="0"/>
              </a:rPr>
              <a:t>Arduino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IDE – kompilacja i wgrywani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56320" y="1628750"/>
            <a:ext cx="60488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rodzaj płyty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Nano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ort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COM</a:t>
            </a:r>
            <a:r>
              <a:rPr lang="de-DE" sz="2000" b="1" dirty="0" smtClean="0">
                <a:solidFill>
                  <a:srgbClr val="FF0000"/>
                </a:solidFill>
                <a:latin typeface="Courier New" pitchFamily="49" charset="0"/>
                <a:cs typeface="Courier New" pitchFamily="49" charset="0"/>
              </a:rPr>
              <a:t>X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ybieramy </a:t>
            </a:r>
            <a:r>
              <a:rPr lang="de-DE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typ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ocesora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Project&gt;Properties&gt;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Tmega168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ompilacja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Verify</a:t>
            </a:r>
            <a:endParaRPr lang="pl-PL" sz="2000" b="1" dirty="0" smtClean="0">
              <a:solidFill>
                <a:sysClr val="windowText" lastClr="000000"/>
              </a:solidFill>
              <a:latin typeface="Courier New" pitchFamily="49" charset="0"/>
              <a:cs typeface="Courier New" pitchFamily="49" charset="0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Arial" pitchFamily="34" charset="0"/>
              <a:buChar char="•"/>
            </a:pP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Wgranie</a:t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&gt;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Upload</a:t>
            </a:r>
            <a:r>
              <a:rPr lang="de-DE" sz="2000" b="1" dirty="0" smtClean="0">
                <a:solidFill>
                  <a:sysClr val="windowText" lastClr="000000"/>
                </a:solidFill>
                <a:latin typeface="Courier New" pitchFamily="49" charset="0"/>
                <a:cs typeface="Courier New" pitchFamily="49" charset="0"/>
              </a:rPr>
              <a:t> Sketch</a:t>
            </a: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l-PL" sz="20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</a:br>
            <a:endParaRPr lang="pl-PL" sz="200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18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4468005"/>
            <a:ext cx="257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184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496520" y="5322600"/>
            <a:ext cx="25717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5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745110" y="1124680"/>
            <a:ext cx="4066025" cy="2592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0756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21190" y="4653170"/>
            <a:ext cx="28194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err="1" smtClean="0">
                <a:latin typeface="Arial" pitchFamily="34" charset="0"/>
                <a:cs typeface="Arial" pitchFamily="34" charset="0"/>
              </a:rPr>
              <a:t>Breadboard</a:t>
            </a:r>
            <a:r>
              <a:rPr lang="pl-PL" dirty="0" smtClean="0">
                <a:latin typeface="Arial" pitchFamily="34" charset="0"/>
                <a:cs typeface="Arial" pitchFamily="34" charset="0"/>
              </a:rPr>
              <a:t> – płytka do prototypowania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rduino_ide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949350"/>
            <a:ext cx="990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http://www.baldengineer.com/electronics-introduction-to-breadboards.html</a:t>
            </a:r>
            <a:endParaRPr lang="en-US" dirty="0"/>
          </a:p>
        </p:txBody>
      </p:sp>
      <p:pic>
        <p:nvPicPr>
          <p:cNvPr id="310281" name="Picture 9" descr="C:\Users\jczas\Downloads\bb\breadboard-with-components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6200000">
            <a:off x="5879773" y="2646247"/>
            <a:ext cx="4843386" cy="1944272"/>
          </a:xfrm>
          <a:prstGeom prst="rect">
            <a:avLst/>
          </a:prstGeom>
          <a:noFill/>
        </p:spPr>
      </p:pic>
      <p:pic>
        <p:nvPicPr>
          <p:cNvPr id="310283" name="Picture 11" descr="C:\Users\jczas\Downloads\bb\breadboard_component-columns-highlighted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3501010"/>
            <a:ext cx="6120000" cy="2457792"/>
          </a:xfrm>
          <a:prstGeom prst="rect">
            <a:avLst/>
          </a:prstGeom>
          <a:noFill/>
        </p:spPr>
      </p:pic>
      <p:pic>
        <p:nvPicPr>
          <p:cNvPr id="310284" name="Picture 12" descr="C:\Users\jczas\Downloads\bb\breadboard_power_rails_highlighted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8430" y="1124680"/>
            <a:ext cx="6120000" cy="2395626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 rot="16200000">
            <a:off x="-409691" y="2274399"/>
            <a:ext cx="187743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zasilania</a:t>
            </a:r>
            <a:endParaRPr lang="en-US" sz="1800" b="1" dirty="0" smtClean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-659758" y="4578719"/>
            <a:ext cx="2377574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1800" b="1" dirty="0" smtClean="0"/>
              <a:t>Szyny podzespołów</a:t>
            </a:r>
            <a:endParaRPr lang="en-US" sz="1800" b="1" dirty="0" smtClean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704410" y="4437142"/>
            <a:ext cx="432060" cy="1440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04410" y="4941210"/>
            <a:ext cx="432060" cy="1440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rot="5400000" flipH="1" flipV="1">
            <a:off x="560390" y="1628750"/>
            <a:ext cx="79211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rot="16200000" flipH="1">
            <a:off x="668405" y="2672895"/>
            <a:ext cx="576080" cy="5040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7</Words>
  <Application>Microsoft Office PowerPoint</Application>
  <PresentationFormat>A4 Paper (210x297 mm)</PresentationFormat>
  <Paragraphs>127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Blank</vt:lpstr>
      <vt:lpstr>think-cell Slide</vt:lpstr>
      <vt:lpstr>Arduino Software (IDE) </vt:lpstr>
      <vt:lpstr>Arduino Nano</vt:lpstr>
      <vt:lpstr>Arduino IDE</vt:lpstr>
      <vt:lpstr>Eclipse Arduino IDE</vt:lpstr>
      <vt:lpstr>Arduino – struktura „main”</vt:lpstr>
      <vt:lpstr>Arduino – instalacja drivera</vt:lpstr>
      <vt:lpstr>Arduino IDE – kompilacja i wgrywanie</vt:lpstr>
      <vt:lpstr>Eclipse Arduino IDE – kompilacja i wgrywanie</vt:lpstr>
      <vt:lpstr>Breadboard – płytka do prototypowania</vt:lpstr>
      <vt:lpstr>Arduino – cyfrowe wyjście</vt:lpstr>
      <vt:lpstr>Arduino – cyfrowe wyjście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598</cp:revision>
  <dcterms:created xsi:type="dcterms:W3CDTF">2014-10-21T19:55:20Z</dcterms:created>
  <dcterms:modified xsi:type="dcterms:W3CDTF">2016-07-14T19:11:06Z</dcterms:modified>
</cp:coreProperties>
</file>